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897" r:id="rId6"/>
    <p:sldId id="1324" r:id="rId7"/>
    <p:sldId id="1325" r:id="rId8"/>
    <p:sldId id="1326" r:id="rId9"/>
    <p:sldId id="1321" r:id="rId10"/>
    <p:sldId id="1327" r:id="rId11"/>
    <p:sldId id="899" r:id="rId12"/>
    <p:sldId id="1328" r:id="rId13"/>
    <p:sldId id="1314" r:id="rId14"/>
    <p:sldId id="990" r:id="rId15"/>
    <p:sldId id="373" r:id="rId16"/>
    <p:sldId id="5870" r:id="rId17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1292" y="6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e Sarkis" userId="e8826e32-598d-44e8-9752-b7fdf035a46f" providerId="ADAL" clId="{1C265AAD-5F3C-453E-B1C1-9853400903DD}"/>
    <pc:docChg chg="custSel addSld delSld modSld sldOrd">
      <pc:chgData name="Elie Sarkis" userId="e8826e32-598d-44e8-9752-b7fdf035a46f" providerId="ADAL" clId="{1C265AAD-5F3C-453E-B1C1-9853400903DD}" dt="2022-09-23T06:50:57.011" v="382" actId="20577"/>
      <pc:docMkLst>
        <pc:docMk/>
      </pc:docMkLst>
      <pc:sldChg chg="delSp modSp mod modClrScheme chgLayout">
        <pc:chgData name="Elie Sarkis" userId="e8826e32-598d-44e8-9752-b7fdf035a46f" providerId="ADAL" clId="{1C265AAD-5F3C-453E-B1C1-9853400903DD}" dt="2022-09-23T06:50:57.011" v="382" actId="20577"/>
        <pc:sldMkLst>
          <pc:docMk/>
          <pc:sldMk cId="751796680" sldId="256"/>
        </pc:sldMkLst>
        <pc:spChg chg="del mod">
          <ac:chgData name="Elie Sarkis" userId="e8826e32-598d-44e8-9752-b7fdf035a46f" providerId="ADAL" clId="{1C265AAD-5F3C-453E-B1C1-9853400903DD}" dt="2022-09-23T06:39:17.911" v="13" actId="478"/>
          <ac:spMkLst>
            <pc:docMk/>
            <pc:sldMk cId="751796680" sldId="256"/>
            <ac:spMk id="4" creationId="{3A83DEC4-160F-8D45-928E-F904BB56AA6E}"/>
          </ac:spMkLst>
        </pc:spChg>
        <pc:spChg chg="mod">
          <ac:chgData name="Elie Sarkis" userId="e8826e32-598d-44e8-9752-b7fdf035a46f" providerId="ADAL" clId="{1C265AAD-5F3C-453E-B1C1-9853400903DD}" dt="2022-09-23T06:50:57.011" v="382" actId="20577"/>
          <ac:spMkLst>
            <pc:docMk/>
            <pc:sldMk cId="751796680" sldId="256"/>
            <ac:spMk id="5" creationId="{1A12168F-BBB5-C845-B138-AB550A9E1E14}"/>
          </ac:spMkLst>
        </pc:spChg>
      </pc:sldChg>
      <pc:sldChg chg="modSp ord">
        <pc:chgData name="Elie Sarkis" userId="e8826e32-598d-44e8-9752-b7fdf035a46f" providerId="ADAL" clId="{1C265AAD-5F3C-453E-B1C1-9853400903DD}" dt="2022-09-23T06:48:06.197" v="368"/>
        <pc:sldMkLst>
          <pc:docMk/>
          <pc:sldMk cId="3288824265" sldId="373"/>
        </pc:sldMkLst>
        <pc:picChg chg="mod">
          <ac:chgData name="Elie Sarkis" userId="e8826e32-598d-44e8-9752-b7fdf035a46f" providerId="ADAL" clId="{1C265AAD-5F3C-453E-B1C1-9853400903DD}" dt="2022-09-23T06:43:34.288" v="136" actId="1076"/>
          <ac:picMkLst>
            <pc:docMk/>
            <pc:sldMk cId="3288824265" sldId="373"/>
            <ac:picMk id="14338" creationId="{00000000-0000-0000-0000-000000000000}"/>
          </ac:picMkLst>
        </pc:picChg>
      </pc:sldChg>
      <pc:sldChg chg="modSp add mod modClrScheme chgLayout">
        <pc:chgData name="Elie Sarkis" userId="e8826e32-598d-44e8-9752-b7fdf035a46f" providerId="ADAL" clId="{1C265AAD-5F3C-453E-B1C1-9853400903DD}" dt="2022-09-23T06:44:38.924" v="145" actId="1076"/>
        <pc:sldMkLst>
          <pc:docMk/>
          <pc:sldMk cId="582129481" sldId="382"/>
        </pc:sldMkLst>
        <pc:spChg chg="mod">
          <ac:chgData name="Elie Sarkis" userId="e8826e32-598d-44e8-9752-b7fdf035a46f" providerId="ADAL" clId="{1C265AAD-5F3C-453E-B1C1-9853400903DD}" dt="2022-09-23T06:44:26.742" v="141" actId="207"/>
          <ac:spMkLst>
            <pc:docMk/>
            <pc:sldMk cId="582129481" sldId="382"/>
            <ac:spMk id="4" creationId="{00000000-0000-0000-0000-000000000000}"/>
          </ac:spMkLst>
        </pc:spChg>
        <pc:spChg chg="mod">
          <ac:chgData name="Elie Sarkis" userId="e8826e32-598d-44e8-9752-b7fdf035a46f" providerId="ADAL" clId="{1C265AAD-5F3C-453E-B1C1-9853400903DD}" dt="2022-09-23T06:44:38.924" v="145" actId="1076"/>
          <ac:spMkLst>
            <pc:docMk/>
            <pc:sldMk cId="582129481" sldId="382"/>
            <ac:spMk id="5" creationId="{00000000-0000-0000-0000-000000000000}"/>
          </ac:spMkLst>
        </pc:spChg>
        <pc:spChg chg="mod">
          <ac:chgData name="Elie Sarkis" userId="e8826e32-598d-44e8-9752-b7fdf035a46f" providerId="ADAL" clId="{1C265AAD-5F3C-453E-B1C1-9853400903DD}" dt="2022-09-23T06:44:26.742" v="141" actId="207"/>
          <ac:spMkLst>
            <pc:docMk/>
            <pc:sldMk cId="582129481" sldId="382"/>
            <ac:spMk id="6" creationId="{00000000-0000-0000-0000-000000000000}"/>
          </ac:spMkLst>
        </pc:spChg>
      </pc:sldChg>
      <pc:sldChg chg="modSp add mod modClrScheme chgLayout">
        <pc:chgData name="Elie Sarkis" userId="e8826e32-598d-44e8-9752-b7fdf035a46f" providerId="ADAL" clId="{1C265AAD-5F3C-453E-B1C1-9853400903DD}" dt="2022-09-23T06:45:47.293" v="310" actId="1076"/>
        <pc:sldMkLst>
          <pc:docMk/>
          <pc:sldMk cId="3128945122" sldId="396"/>
        </pc:sldMkLst>
        <pc:spChg chg="mod">
          <ac:chgData name="Elie Sarkis" userId="e8826e32-598d-44e8-9752-b7fdf035a46f" providerId="ADAL" clId="{1C265AAD-5F3C-453E-B1C1-9853400903DD}" dt="2022-09-23T06:45:47.293" v="310" actId="1076"/>
          <ac:spMkLst>
            <pc:docMk/>
            <pc:sldMk cId="3128945122" sldId="396"/>
            <ac:spMk id="2" creationId="{00000000-0000-0000-0000-000000000000}"/>
          </ac:spMkLst>
        </pc:spChg>
      </pc:sldChg>
      <pc:sldChg chg="modSp add mod modClrScheme chgLayout">
        <pc:chgData name="Elie Sarkis" userId="e8826e32-598d-44e8-9752-b7fdf035a46f" providerId="ADAL" clId="{1C265AAD-5F3C-453E-B1C1-9853400903DD}" dt="2022-09-23T06:47:53.697" v="366" actId="20577"/>
        <pc:sldMkLst>
          <pc:docMk/>
          <pc:sldMk cId="2545775575" sldId="397"/>
        </pc:sldMkLst>
        <pc:spChg chg="mod">
          <ac:chgData name="Elie Sarkis" userId="e8826e32-598d-44e8-9752-b7fdf035a46f" providerId="ADAL" clId="{1C265AAD-5F3C-453E-B1C1-9853400903DD}" dt="2022-09-23T06:47:53.697" v="366" actId="20577"/>
          <ac:spMkLst>
            <pc:docMk/>
            <pc:sldMk cId="2545775575" sldId="397"/>
            <ac:spMk id="2" creationId="{00000000-0000-0000-0000-000000000000}"/>
          </ac:spMkLst>
        </pc:spChg>
      </pc:sldChg>
      <pc:sldChg chg="delSp mod">
        <pc:chgData name="Elie Sarkis" userId="e8826e32-598d-44e8-9752-b7fdf035a46f" providerId="ADAL" clId="{1C265AAD-5F3C-453E-B1C1-9853400903DD}" dt="2022-09-23T06:48:41.812" v="376" actId="478"/>
        <pc:sldMkLst>
          <pc:docMk/>
          <pc:sldMk cId="2088236400" sldId="897"/>
        </pc:sldMkLst>
        <pc:spChg chg="del">
          <ac:chgData name="Elie Sarkis" userId="e8826e32-598d-44e8-9752-b7fdf035a46f" providerId="ADAL" clId="{1C265AAD-5F3C-453E-B1C1-9853400903DD}" dt="2022-09-23T06:48:41.812" v="376" actId="478"/>
          <ac:spMkLst>
            <pc:docMk/>
            <pc:sldMk cId="2088236400" sldId="897"/>
            <ac:spMk id="7" creationId="{A5CECE6E-165D-4EF4-88CA-AAB04ED58B22}"/>
          </ac:spMkLst>
        </pc:spChg>
      </pc:sldChg>
      <pc:sldChg chg="modSp del mod modClrScheme chgLayout">
        <pc:chgData name="Elie Sarkis" userId="e8826e32-598d-44e8-9752-b7fdf035a46f" providerId="ADAL" clId="{1C265AAD-5F3C-453E-B1C1-9853400903DD}" dt="2022-09-23T06:41:53.855" v="86" actId="47"/>
        <pc:sldMkLst>
          <pc:docMk/>
          <pc:sldMk cId="4293549054" sldId="898"/>
        </pc:sldMkLst>
        <pc:spChg chg="mod ord">
          <ac:chgData name="Elie Sarkis" userId="e8826e32-598d-44e8-9752-b7fdf035a46f" providerId="ADAL" clId="{1C265AAD-5F3C-453E-B1C1-9853400903DD}" dt="2022-09-23T06:40:17.318" v="71" actId="113"/>
          <ac:spMkLst>
            <pc:docMk/>
            <pc:sldMk cId="4293549054" sldId="898"/>
            <ac:spMk id="7" creationId="{A5CECE6E-165D-4EF4-88CA-AAB04ED58B22}"/>
          </ac:spMkLst>
        </pc:spChg>
        <pc:picChg chg="mod">
          <ac:chgData name="Elie Sarkis" userId="e8826e32-598d-44e8-9752-b7fdf035a46f" providerId="ADAL" clId="{1C265AAD-5F3C-453E-B1C1-9853400903DD}" dt="2022-09-23T06:40:00.070" v="65" actId="1076"/>
          <ac:picMkLst>
            <pc:docMk/>
            <pc:sldMk cId="4293549054" sldId="898"/>
            <ac:picMk id="6" creationId="{1BB15DF8-306E-4209-939D-194B49FFEDE0}"/>
          </ac:picMkLst>
        </pc:picChg>
        <pc:picChg chg="mod">
          <ac:chgData name="Elie Sarkis" userId="e8826e32-598d-44e8-9752-b7fdf035a46f" providerId="ADAL" clId="{1C265AAD-5F3C-453E-B1C1-9853400903DD}" dt="2022-09-23T06:40:00.070" v="65" actId="1076"/>
          <ac:picMkLst>
            <pc:docMk/>
            <pc:sldMk cId="4293549054" sldId="898"/>
            <ac:picMk id="9" creationId="{9F678F7F-7FD9-4D2D-B19F-59621DEC9001}"/>
          </ac:picMkLst>
        </pc:picChg>
        <pc:picChg chg="mod modCrop">
          <ac:chgData name="Elie Sarkis" userId="e8826e32-598d-44e8-9752-b7fdf035a46f" providerId="ADAL" clId="{1C265AAD-5F3C-453E-B1C1-9853400903DD}" dt="2022-09-23T06:40:35.655" v="73" actId="14100"/>
          <ac:picMkLst>
            <pc:docMk/>
            <pc:sldMk cId="4293549054" sldId="898"/>
            <ac:picMk id="13" creationId="{FDE26C8A-45C5-4C69-A2E2-C50B40837BFD}"/>
          </ac:picMkLst>
        </pc:picChg>
      </pc:sldChg>
      <pc:sldChg chg="addSp delSp modSp mod modClrScheme chgLayout">
        <pc:chgData name="Elie Sarkis" userId="e8826e32-598d-44e8-9752-b7fdf035a46f" providerId="ADAL" clId="{1C265AAD-5F3C-453E-B1C1-9853400903DD}" dt="2022-09-23T06:48:16.084" v="369" actId="255"/>
        <pc:sldMkLst>
          <pc:docMk/>
          <pc:sldMk cId="3985694819" sldId="899"/>
        </pc:sldMkLst>
        <pc:spChg chg="mod ord">
          <ac:chgData name="Elie Sarkis" userId="e8826e32-598d-44e8-9752-b7fdf035a46f" providerId="ADAL" clId="{1C265AAD-5F3C-453E-B1C1-9853400903DD}" dt="2022-09-23T06:48:16.084" v="369" actId="255"/>
          <ac:spMkLst>
            <pc:docMk/>
            <pc:sldMk cId="3985694819" sldId="899"/>
            <ac:spMk id="7" creationId="{A5CECE6E-165D-4EF4-88CA-AAB04ED58B22}"/>
          </ac:spMkLst>
        </pc:spChg>
        <pc:spChg chg="mod">
          <ac:chgData name="Elie Sarkis" userId="e8826e32-598d-44e8-9752-b7fdf035a46f" providerId="ADAL" clId="{1C265AAD-5F3C-453E-B1C1-9853400903DD}" dt="2022-09-23T06:42:32.020" v="103" actId="20577"/>
          <ac:spMkLst>
            <pc:docMk/>
            <pc:sldMk cId="3985694819" sldId="899"/>
            <ac:spMk id="8" creationId="{C6E80C40-280F-44C8-9BA3-82B6DECCE8EB}"/>
          </ac:spMkLst>
        </pc:spChg>
        <pc:picChg chg="add mod">
          <ac:chgData name="Elie Sarkis" userId="e8826e32-598d-44e8-9752-b7fdf035a46f" providerId="ADAL" clId="{1C265AAD-5F3C-453E-B1C1-9853400903DD}" dt="2022-09-23T06:42:21.692" v="96" actId="1076"/>
          <ac:picMkLst>
            <pc:docMk/>
            <pc:sldMk cId="3985694819" sldId="899"/>
            <ac:picMk id="2" creationId="{92A342CD-079D-B0F6-2938-B83177B9E3A1}"/>
          </ac:picMkLst>
        </pc:picChg>
        <pc:picChg chg="del">
          <ac:chgData name="Elie Sarkis" userId="e8826e32-598d-44e8-9752-b7fdf035a46f" providerId="ADAL" clId="{1C265AAD-5F3C-453E-B1C1-9853400903DD}" dt="2022-09-23T06:40:47.666" v="75" actId="478"/>
          <ac:picMkLst>
            <pc:docMk/>
            <pc:sldMk cId="3985694819" sldId="899"/>
            <ac:picMk id="5" creationId="{F5C3692A-FE84-473A-B970-63EAF6D24843}"/>
          </ac:picMkLst>
        </pc:picChg>
      </pc:sldChg>
      <pc:sldChg chg="del mod modClrScheme chgLayout">
        <pc:chgData name="Elie Sarkis" userId="e8826e32-598d-44e8-9752-b7fdf035a46f" providerId="ADAL" clId="{1C265AAD-5F3C-453E-B1C1-9853400903DD}" dt="2022-09-23T06:40:44.789" v="74" actId="47"/>
        <pc:sldMkLst>
          <pc:docMk/>
          <pc:sldMk cId="2219647170" sldId="900"/>
        </pc:sldMkLst>
      </pc:sldChg>
      <pc:sldChg chg="modSp add mod modClrScheme chgLayout">
        <pc:chgData name="Elie Sarkis" userId="e8826e32-598d-44e8-9752-b7fdf035a46f" providerId="ADAL" clId="{1C265AAD-5F3C-453E-B1C1-9853400903DD}" dt="2022-09-23T06:47:26.980" v="365" actId="20577"/>
        <pc:sldMkLst>
          <pc:docMk/>
          <pc:sldMk cId="2478315847" sldId="990"/>
        </pc:sldMkLst>
        <pc:spChg chg="mod">
          <ac:chgData name="Elie Sarkis" userId="e8826e32-598d-44e8-9752-b7fdf035a46f" providerId="ADAL" clId="{1C265AAD-5F3C-453E-B1C1-9853400903DD}" dt="2022-09-23T06:47:26.980" v="365" actId="20577"/>
          <ac:spMkLst>
            <pc:docMk/>
            <pc:sldMk cId="2478315847" sldId="990"/>
            <ac:spMk id="5" creationId="{32D5397E-50B3-4C0F-9CDD-45C667590857}"/>
          </ac:spMkLst>
        </pc:spChg>
        <pc:spChg chg="mod">
          <ac:chgData name="Elie Sarkis" userId="e8826e32-598d-44e8-9752-b7fdf035a46f" providerId="ADAL" clId="{1C265AAD-5F3C-453E-B1C1-9853400903DD}" dt="2022-09-23T06:47:06.121" v="333" actId="1076"/>
          <ac:spMkLst>
            <pc:docMk/>
            <pc:sldMk cId="2478315847" sldId="990"/>
            <ac:spMk id="7" creationId="{FB65F994-414F-4275-BDD5-0A776D01C9B1}"/>
          </ac:spMkLst>
        </pc:spChg>
        <pc:spChg chg="mod">
          <ac:chgData name="Elie Sarkis" userId="e8826e32-598d-44e8-9752-b7fdf035a46f" providerId="ADAL" clId="{1C265AAD-5F3C-453E-B1C1-9853400903DD}" dt="2022-09-23T06:46:55.160" v="329" actId="255"/>
          <ac:spMkLst>
            <pc:docMk/>
            <pc:sldMk cId="2478315847" sldId="990"/>
            <ac:spMk id="10" creationId="{C1DE3670-6EE9-4EAF-A892-481F1D3AD18F}"/>
          </ac:spMkLst>
        </pc:spChg>
      </pc:sldChg>
      <pc:sldChg chg="modSp add mod modClrScheme chgLayout">
        <pc:chgData name="Elie Sarkis" userId="e8826e32-598d-44e8-9752-b7fdf035a46f" providerId="ADAL" clId="{1C265AAD-5F3C-453E-B1C1-9853400903DD}" dt="2022-09-23T06:46:39.408" v="326" actId="1076"/>
        <pc:sldMkLst>
          <pc:docMk/>
          <pc:sldMk cId="1826301479" sldId="1314"/>
        </pc:sldMkLst>
        <pc:spChg chg="mod">
          <ac:chgData name="Elie Sarkis" userId="e8826e32-598d-44e8-9752-b7fdf035a46f" providerId="ADAL" clId="{1C265AAD-5F3C-453E-B1C1-9853400903DD}" dt="2022-09-23T06:46:28.852" v="322" actId="1076"/>
          <ac:spMkLst>
            <pc:docMk/>
            <pc:sldMk cId="1826301479" sldId="1314"/>
            <ac:spMk id="5" creationId="{E5965115-C989-41BA-88E1-78735B5006FC}"/>
          </ac:spMkLst>
        </pc:spChg>
        <pc:spChg chg="mod">
          <ac:chgData name="Elie Sarkis" userId="e8826e32-598d-44e8-9752-b7fdf035a46f" providerId="ADAL" clId="{1C265AAD-5F3C-453E-B1C1-9853400903DD}" dt="2022-09-23T06:46:39.408" v="326" actId="1076"/>
          <ac:spMkLst>
            <pc:docMk/>
            <pc:sldMk cId="1826301479" sldId="1314"/>
            <ac:spMk id="7" creationId="{FB65F994-414F-4275-BDD5-0A776D01C9B1}"/>
          </ac:spMkLst>
        </pc:spChg>
      </pc:sldChg>
      <pc:sldChg chg="modSp add mod">
        <pc:chgData name="Elie Sarkis" userId="e8826e32-598d-44e8-9752-b7fdf035a46f" providerId="ADAL" clId="{1C265AAD-5F3C-453E-B1C1-9853400903DD}" dt="2022-09-23T06:48:21.675" v="370" actId="255"/>
        <pc:sldMkLst>
          <pc:docMk/>
          <pc:sldMk cId="2299398627" sldId="1321"/>
        </pc:sldMkLst>
        <pc:spChg chg="mod">
          <ac:chgData name="Elie Sarkis" userId="e8826e32-598d-44e8-9752-b7fdf035a46f" providerId="ADAL" clId="{1C265AAD-5F3C-453E-B1C1-9853400903DD}" dt="2022-09-23T06:48:21.675" v="370" actId="255"/>
          <ac:spMkLst>
            <pc:docMk/>
            <pc:sldMk cId="2299398627" sldId="1321"/>
            <ac:spMk id="8" creationId="{DDE558A5-753A-2C2B-CF17-7C22C4499EF1}"/>
          </ac:spMkLst>
        </pc:spChg>
      </pc:sldChg>
      <pc:sldChg chg="modSp add mod">
        <pc:chgData name="Elie Sarkis" userId="e8826e32-598d-44e8-9752-b7fdf035a46f" providerId="ADAL" clId="{1C265AAD-5F3C-453E-B1C1-9853400903DD}" dt="2022-09-23T06:48:37.304" v="375" actId="1076"/>
        <pc:sldMkLst>
          <pc:docMk/>
          <pc:sldMk cId="1558776685" sldId="1324"/>
        </pc:sldMkLst>
        <pc:spChg chg="mod">
          <ac:chgData name="Elie Sarkis" userId="e8826e32-598d-44e8-9752-b7fdf035a46f" providerId="ADAL" clId="{1C265AAD-5F3C-453E-B1C1-9853400903DD}" dt="2022-09-23T06:48:37.304" v="375" actId="1076"/>
          <ac:spMkLst>
            <pc:docMk/>
            <pc:sldMk cId="1558776685" sldId="1324"/>
            <ac:spMk id="4" creationId="{06EE6DC6-0DE5-C22E-F0B1-0BC26F4E5400}"/>
          </ac:spMkLst>
        </pc:spChg>
      </pc:sldChg>
      <pc:sldChg chg="modSp add mod">
        <pc:chgData name="Elie Sarkis" userId="e8826e32-598d-44e8-9752-b7fdf035a46f" providerId="ADAL" clId="{1C265AAD-5F3C-453E-B1C1-9853400903DD}" dt="2022-09-23T06:39:42.868" v="63" actId="1076"/>
        <pc:sldMkLst>
          <pc:docMk/>
          <pc:sldMk cId="3456510750" sldId="1325"/>
        </pc:sldMkLst>
        <pc:picChg chg="mod">
          <ac:chgData name="Elie Sarkis" userId="e8826e32-598d-44e8-9752-b7fdf035a46f" providerId="ADAL" clId="{1C265AAD-5F3C-453E-B1C1-9853400903DD}" dt="2022-09-23T06:39:42.868" v="63" actId="1076"/>
          <ac:picMkLst>
            <pc:docMk/>
            <pc:sldMk cId="3456510750" sldId="1325"/>
            <ac:picMk id="5" creationId="{EAC9F47B-87C1-BBEB-C529-807AB77826B2}"/>
          </ac:picMkLst>
        </pc:picChg>
      </pc:sldChg>
      <pc:sldChg chg="modSp add mod">
        <pc:chgData name="Elie Sarkis" userId="e8826e32-598d-44e8-9752-b7fdf035a46f" providerId="ADAL" clId="{1C265AAD-5F3C-453E-B1C1-9853400903DD}" dt="2022-09-23T06:48:28.298" v="372" actId="14100"/>
        <pc:sldMkLst>
          <pc:docMk/>
          <pc:sldMk cId="3810041088" sldId="1326"/>
        </pc:sldMkLst>
        <pc:spChg chg="mod">
          <ac:chgData name="Elie Sarkis" userId="e8826e32-598d-44e8-9752-b7fdf035a46f" providerId="ADAL" clId="{1C265AAD-5F3C-453E-B1C1-9853400903DD}" dt="2022-09-23T06:48:28.298" v="372" actId="14100"/>
          <ac:spMkLst>
            <pc:docMk/>
            <pc:sldMk cId="3810041088" sldId="1326"/>
            <ac:spMk id="4" creationId="{D2AD74CD-A540-CB97-53CD-42F879E738F6}"/>
          </ac:spMkLst>
        </pc:spChg>
      </pc:sldChg>
      <pc:sldChg chg="addSp delSp modSp add mod">
        <pc:chgData name="Elie Sarkis" userId="e8826e32-598d-44e8-9752-b7fdf035a46f" providerId="ADAL" clId="{1C265AAD-5F3C-453E-B1C1-9853400903DD}" dt="2022-09-23T06:41:24.038" v="85" actId="14100"/>
        <pc:sldMkLst>
          <pc:docMk/>
          <pc:sldMk cId="2688871144" sldId="1327"/>
        </pc:sldMkLst>
        <pc:spChg chg="del">
          <ac:chgData name="Elie Sarkis" userId="e8826e32-598d-44e8-9752-b7fdf035a46f" providerId="ADAL" clId="{1C265AAD-5F3C-453E-B1C1-9853400903DD}" dt="2022-09-23T06:41:12.762" v="80" actId="478"/>
          <ac:spMkLst>
            <pc:docMk/>
            <pc:sldMk cId="2688871144" sldId="1327"/>
            <ac:spMk id="2" creationId="{947C760E-57F9-443D-BACC-13F35A5FA62E}"/>
          </ac:spMkLst>
        </pc:spChg>
        <pc:spChg chg="add mod">
          <ac:chgData name="Elie Sarkis" userId="e8826e32-598d-44e8-9752-b7fdf035a46f" providerId="ADAL" clId="{1C265AAD-5F3C-453E-B1C1-9853400903DD}" dt="2022-09-23T06:41:14.536" v="82"/>
          <ac:spMkLst>
            <pc:docMk/>
            <pc:sldMk cId="2688871144" sldId="1327"/>
            <ac:spMk id="4" creationId="{C2120A0E-2F47-86D7-80E9-2FE0FC7FBC45}"/>
          </ac:spMkLst>
        </pc:spChg>
        <pc:spChg chg="mod">
          <ac:chgData name="Elie Sarkis" userId="e8826e32-598d-44e8-9752-b7fdf035a46f" providerId="ADAL" clId="{1C265AAD-5F3C-453E-B1C1-9853400903DD}" dt="2022-09-23T06:41:17.112" v="83" actId="1076"/>
          <ac:spMkLst>
            <pc:docMk/>
            <pc:sldMk cId="2688871144" sldId="1327"/>
            <ac:spMk id="7" creationId="{A5CECE6E-165D-4EF4-88CA-AAB04ED58B22}"/>
          </ac:spMkLst>
        </pc:spChg>
        <pc:spChg chg="add mod">
          <ac:chgData name="Elie Sarkis" userId="e8826e32-598d-44e8-9752-b7fdf035a46f" providerId="ADAL" clId="{1C265AAD-5F3C-453E-B1C1-9853400903DD}" dt="2022-09-23T06:41:14.536" v="82"/>
          <ac:spMkLst>
            <pc:docMk/>
            <pc:sldMk cId="2688871144" sldId="1327"/>
            <ac:spMk id="8" creationId="{65088500-B93B-6DB4-812B-2DB2A87FE092}"/>
          </ac:spMkLst>
        </pc:sp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3" creationId="{4500FD84-771F-38ED-8864-A8C109864414}"/>
          </ac:picMkLst>
        </pc:pic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5" creationId="{35E51026-7A06-7048-274C-F853FFFC41D9}"/>
          </ac:picMkLst>
        </pc:picChg>
        <pc:picChg chg="del">
          <ac:chgData name="Elie Sarkis" userId="e8826e32-598d-44e8-9752-b7fdf035a46f" providerId="ADAL" clId="{1C265AAD-5F3C-453E-B1C1-9853400903DD}" dt="2022-09-23T06:41:11.039" v="77" actId="478"/>
          <ac:picMkLst>
            <pc:docMk/>
            <pc:sldMk cId="2688871144" sldId="1327"/>
            <ac:picMk id="6" creationId="{1BB15DF8-306E-4209-939D-194B49FFEDE0}"/>
          </ac:picMkLst>
        </pc:picChg>
        <pc:picChg chg="del">
          <ac:chgData name="Elie Sarkis" userId="e8826e32-598d-44e8-9752-b7fdf035a46f" providerId="ADAL" clId="{1C265AAD-5F3C-453E-B1C1-9853400903DD}" dt="2022-09-23T06:41:11.471" v="78" actId="478"/>
          <ac:picMkLst>
            <pc:docMk/>
            <pc:sldMk cId="2688871144" sldId="1327"/>
            <ac:picMk id="9" creationId="{9F678F7F-7FD9-4D2D-B19F-59621DEC9001}"/>
          </ac:picMkLst>
        </pc:pic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10" creationId="{E4CA1A7B-E300-B034-4519-AEF11AB98512}"/>
          </ac:picMkLst>
        </pc:picChg>
        <pc:picChg chg="del">
          <ac:chgData name="Elie Sarkis" userId="e8826e32-598d-44e8-9752-b7fdf035a46f" providerId="ADAL" clId="{1C265AAD-5F3C-453E-B1C1-9853400903DD}" dt="2022-09-23T06:41:13.254" v="81" actId="478"/>
          <ac:picMkLst>
            <pc:docMk/>
            <pc:sldMk cId="2688871144" sldId="1327"/>
            <ac:picMk id="11" creationId="{1CDB50AC-5CCA-42BB-AC4E-12E689BB6EBE}"/>
          </ac:picMkLst>
        </pc:pic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12" creationId="{A17F4E4E-D854-B85C-00D4-742506C51C41}"/>
          </ac:picMkLst>
        </pc:picChg>
        <pc:picChg chg="del">
          <ac:chgData name="Elie Sarkis" userId="e8826e32-598d-44e8-9752-b7fdf035a46f" providerId="ADAL" clId="{1C265AAD-5F3C-453E-B1C1-9853400903DD}" dt="2022-09-23T06:41:11.831" v="79" actId="478"/>
          <ac:picMkLst>
            <pc:docMk/>
            <pc:sldMk cId="2688871144" sldId="1327"/>
            <ac:picMk id="13" creationId="{FDE26C8A-45C5-4C69-A2E2-C50B40837BFD}"/>
          </ac:picMkLst>
        </pc:picChg>
        <pc:picChg chg="add mod">
          <ac:chgData name="Elie Sarkis" userId="e8826e32-598d-44e8-9752-b7fdf035a46f" providerId="ADAL" clId="{1C265AAD-5F3C-453E-B1C1-9853400903DD}" dt="2022-09-23T06:41:24.038" v="85" actId="14100"/>
          <ac:picMkLst>
            <pc:docMk/>
            <pc:sldMk cId="2688871144" sldId="1327"/>
            <ac:picMk id="14" creationId="{A72FE31B-E838-E3E0-68B5-87C90DCAF74E}"/>
          </ac:picMkLst>
        </pc:picChg>
      </pc:sldChg>
      <pc:sldChg chg="addSp modSp new mod">
        <pc:chgData name="Elie Sarkis" userId="e8826e32-598d-44e8-9752-b7fdf035a46f" providerId="ADAL" clId="{1C265AAD-5F3C-453E-B1C1-9853400903DD}" dt="2022-09-23T06:43:16.048" v="135" actId="1076"/>
        <pc:sldMkLst>
          <pc:docMk/>
          <pc:sldMk cId="1692540853" sldId="1328"/>
        </pc:sldMkLst>
        <pc:spChg chg="add mod">
          <ac:chgData name="Elie Sarkis" userId="e8826e32-598d-44e8-9752-b7fdf035a46f" providerId="ADAL" clId="{1C265AAD-5F3C-453E-B1C1-9853400903DD}" dt="2022-09-23T06:43:15.211" v="134" actId="1076"/>
          <ac:spMkLst>
            <pc:docMk/>
            <pc:sldMk cId="1692540853" sldId="1328"/>
            <ac:spMk id="3" creationId="{317C124B-5189-62FD-09A0-1C92BA683EE3}"/>
          </ac:spMkLst>
        </pc:spChg>
        <pc:picChg chg="add mod">
          <ac:chgData name="Elie Sarkis" userId="e8826e32-598d-44e8-9752-b7fdf035a46f" providerId="ADAL" clId="{1C265AAD-5F3C-453E-B1C1-9853400903DD}" dt="2022-09-23T06:43:16.048" v="135" actId="1076"/>
          <ac:picMkLst>
            <pc:docMk/>
            <pc:sldMk cId="1692540853" sldId="1328"/>
            <ac:picMk id="2" creationId="{D9CB4FD3-5AF7-1D73-D264-CED0E02CFBA6}"/>
          </ac:picMkLst>
        </pc:picChg>
      </pc:sldChg>
      <pc:sldChg chg="add">
        <pc:chgData name="Elie Sarkis" userId="e8826e32-598d-44e8-9752-b7fdf035a46f" providerId="ADAL" clId="{1C265AAD-5F3C-453E-B1C1-9853400903DD}" dt="2022-09-23T06:50:42.672" v="377"/>
        <pc:sldMkLst>
          <pc:docMk/>
          <pc:sldMk cId="2101457434" sldId="5870"/>
        </pc:sldMkLst>
      </pc:sldChg>
    </pc:docChg>
  </pc:docChgLst>
  <pc:docChgLst>
    <pc:chgData name="Elie Sarkis" userId="e8826e32-598d-44e8-9752-b7fdf035a46f" providerId="ADAL" clId="{04C1C754-F400-4AE4-BB23-D3339B245EDD}"/>
    <pc:docChg chg="delSld modSld">
      <pc:chgData name="Elie Sarkis" userId="e8826e32-598d-44e8-9752-b7fdf035a46f" providerId="ADAL" clId="{04C1C754-F400-4AE4-BB23-D3339B245EDD}" dt="2023-01-04T06:28:38.204" v="3" actId="47"/>
      <pc:docMkLst>
        <pc:docMk/>
      </pc:docMkLst>
      <pc:sldChg chg="modSp mod">
        <pc:chgData name="Elie Sarkis" userId="e8826e32-598d-44e8-9752-b7fdf035a46f" providerId="ADAL" clId="{04C1C754-F400-4AE4-BB23-D3339B245EDD}" dt="2023-01-04T06:15:41.396" v="0" actId="6549"/>
        <pc:sldMkLst>
          <pc:docMk/>
          <pc:sldMk cId="751796680" sldId="256"/>
        </pc:sldMkLst>
        <pc:spChg chg="mod">
          <ac:chgData name="Elie Sarkis" userId="e8826e32-598d-44e8-9752-b7fdf035a46f" providerId="ADAL" clId="{04C1C754-F400-4AE4-BB23-D3339B245EDD}" dt="2023-01-04T06:15:41.396" v="0" actId="6549"/>
          <ac:spMkLst>
            <pc:docMk/>
            <pc:sldMk cId="751796680" sldId="256"/>
            <ac:spMk id="5" creationId="{1A12168F-BBB5-C845-B138-AB550A9E1E14}"/>
          </ac:spMkLst>
        </pc:spChg>
      </pc:sldChg>
      <pc:sldChg chg="del">
        <pc:chgData name="Elie Sarkis" userId="e8826e32-598d-44e8-9752-b7fdf035a46f" providerId="ADAL" clId="{04C1C754-F400-4AE4-BB23-D3339B245EDD}" dt="2023-01-04T06:28:36.445" v="1" actId="47"/>
        <pc:sldMkLst>
          <pc:docMk/>
          <pc:sldMk cId="582129481" sldId="382"/>
        </pc:sldMkLst>
      </pc:sldChg>
      <pc:sldChg chg="del">
        <pc:chgData name="Elie Sarkis" userId="e8826e32-598d-44e8-9752-b7fdf035a46f" providerId="ADAL" clId="{04C1C754-F400-4AE4-BB23-D3339B245EDD}" dt="2023-01-04T06:28:37.528" v="2" actId="47"/>
        <pc:sldMkLst>
          <pc:docMk/>
          <pc:sldMk cId="3128945122" sldId="396"/>
        </pc:sldMkLst>
      </pc:sldChg>
      <pc:sldChg chg="del">
        <pc:chgData name="Elie Sarkis" userId="e8826e32-598d-44e8-9752-b7fdf035a46f" providerId="ADAL" clId="{04C1C754-F400-4AE4-BB23-D3339B245EDD}" dt="2023-01-04T06:28:38.204" v="3" actId="47"/>
        <pc:sldMkLst>
          <pc:docMk/>
          <pc:sldMk cId="2545775575" sldId="39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07/12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07/12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180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3305A4ED-7923-4C52-87D8-E3361671152F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1C1B7B7C-3FE7-4461-9E2D-3C20BA8BFD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589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  <p:sldLayoutId id="2147483655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1069523" y="2687842"/>
            <a:ext cx="61042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Facebook</a:t>
            </a:r>
          </a:p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and Instagram Ads | Part 1</a:t>
            </a:r>
            <a:endParaRPr lang="en" sz="3200" b="1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796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65F994-414F-4275-BDD5-0A776D01C9B1}"/>
              </a:ext>
            </a:extLst>
          </p:cNvPr>
          <p:cNvSpPr/>
          <p:nvPr/>
        </p:nvSpPr>
        <p:spPr>
          <a:xfrm>
            <a:off x="982840" y="1302592"/>
            <a:ext cx="54004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Objectives vs. Metrics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965115-C989-41BA-88E1-78735B5006FC}"/>
              </a:ext>
            </a:extLst>
          </p:cNvPr>
          <p:cNvSpPr/>
          <p:nvPr/>
        </p:nvSpPr>
        <p:spPr>
          <a:xfrm>
            <a:off x="982840" y="2183850"/>
            <a:ext cx="5400455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warenes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C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ach  Reac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an Base  CPL | Follow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raffic  CT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ideo Views  CP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ales &amp; Leads  Conver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venue  ROAS (Return on Ad Spend)</a:t>
            </a:r>
          </a:p>
        </p:txBody>
      </p:sp>
    </p:spTree>
    <p:extLst>
      <p:ext uri="{BB962C8B-B14F-4D97-AF65-F5344CB8AC3E}">
        <p14:creationId xmlns:p14="http://schemas.microsoft.com/office/powerpoint/2010/main" val="1826301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65F994-414F-4275-BDD5-0A776D01C9B1}"/>
              </a:ext>
            </a:extLst>
          </p:cNvPr>
          <p:cNvSpPr/>
          <p:nvPr/>
        </p:nvSpPr>
        <p:spPr>
          <a:xfrm>
            <a:off x="770643" y="2881375"/>
            <a:ext cx="54004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OAS| Return on Ad Spen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D5397E-50B3-4C0F-9CDD-45C667590857}"/>
              </a:ext>
            </a:extLst>
          </p:cNvPr>
          <p:cNvSpPr/>
          <p:nvPr/>
        </p:nvSpPr>
        <p:spPr>
          <a:xfrm>
            <a:off x="763715" y="3409520"/>
            <a:ext cx="77008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f ROAS = 5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With every Euro spent, 5 Euros are generated as Revenue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DE3670-6EE9-4EAF-A892-481F1D3AD18F}"/>
              </a:ext>
            </a:extLst>
          </p:cNvPr>
          <p:cNvSpPr/>
          <p:nvPr/>
        </p:nvSpPr>
        <p:spPr>
          <a:xfrm>
            <a:off x="770643" y="1458311"/>
            <a:ext cx="74699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More about Measuring the </a:t>
            </a:r>
          </a:p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ampaign Performance</a:t>
            </a:r>
          </a:p>
        </p:txBody>
      </p:sp>
    </p:spTree>
    <p:extLst>
      <p:ext uri="{BB962C8B-B14F-4D97-AF65-F5344CB8AC3E}">
        <p14:creationId xmlns:p14="http://schemas.microsoft.com/office/powerpoint/2010/main" val="24783158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"/>
          <a:stretch/>
        </p:blipFill>
        <p:spPr bwMode="auto">
          <a:xfrm>
            <a:off x="225339" y="1575320"/>
            <a:ext cx="9455322" cy="3707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88242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acebook Advertising Revenue">
            <a:extLst>
              <a:ext uri="{FF2B5EF4-FFF2-40B4-BE49-F238E27FC236}">
                <a16:creationId xmlns:a16="http://schemas.microsoft.com/office/drawing/2014/main" id="{B4BF1B8A-9BA0-4C01-965B-C1279C008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257" y="2223584"/>
            <a:ext cx="3857549" cy="2444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Businesses Use Facebook Pages">
            <a:extLst>
              <a:ext uri="{FF2B5EF4-FFF2-40B4-BE49-F238E27FC236}">
                <a16:creationId xmlns:a16="http://schemas.microsoft.com/office/drawing/2014/main" id="{8781E152-C465-47F4-B627-F8631E464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2223584"/>
            <a:ext cx="3807619" cy="241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8236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DDBB90-032C-3EFA-D2C4-048154F29A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687398"/>
            <a:ext cx="7851862" cy="3774694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06EE6DC6-0DE5-C22E-F0B1-0BC26F4E5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" y="1003493"/>
            <a:ext cx="533925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etting up the Meta Business Manager</a:t>
            </a:r>
          </a:p>
        </p:txBody>
      </p:sp>
    </p:spTree>
    <p:extLst>
      <p:ext uri="{BB962C8B-B14F-4D97-AF65-F5344CB8AC3E}">
        <p14:creationId xmlns:p14="http://schemas.microsoft.com/office/powerpoint/2010/main" val="1558776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AC9F47B-87C1-BBEB-C529-807AB77826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856"/>
          <a:stretch/>
        </p:blipFill>
        <p:spPr>
          <a:xfrm>
            <a:off x="1219200" y="724603"/>
            <a:ext cx="6774111" cy="540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510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A799BB-8EC4-1FD9-D39C-4A89466C17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000" r="25000" b="5555"/>
          <a:stretch/>
        </p:blipFill>
        <p:spPr>
          <a:xfrm>
            <a:off x="1236875" y="1501689"/>
            <a:ext cx="7432249" cy="4707091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D2AD74CD-A540-CB97-53CD-42F879E738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875" y="649220"/>
            <a:ext cx="550211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Understand the Meta Business Suite</a:t>
            </a:r>
          </a:p>
        </p:txBody>
      </p:sp>
    </p:spTree>
    <p:extLst>
      <p:ext uri="{BB962C8B-B14F-4D97-AF65-F5344CB8AC3E}">
        <p14:creationId xmlns:p14="http://schemas.microsoft.com/office/powerpoint/2010/main" val="3810041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197CE9-C937-5E5F-75D1-D46ABE1E4A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186" y="1414021"/>
            <a:ext cx="7899853" cy="42919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FEF2343-AA81-FB5F-1169-C08D3FDAD46D}"/>
              </a:ext>
            </a:extLst>
          </p:cNvPr>
          <p:cNvSpPr/>
          <p:nvPr/>
        </p:nvSpPr>
        <p:spPr>
          <a:xfrm>
            <a:off x="2705494" y="2469823"/>
            <a:ext cx="914400" cy="1979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E558A5-753A-2C2B-CF17-7C22C4499EF1}"/>
              </a:ext>
            </a:extLst>
          </p:cNvPr>
          <p:cNvSpPr txBox="1"/>
          <p:nvPr/>
        </p:nvSpPr>
        <p:spPr>
          <a:xfrm>
            <a:off x="534186" y="686065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Meta Business Suite</a:t>
            </a:r>
            <a:endParaRPr lang="en-AE" sz="2000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398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A5CECE6E-165D-4EF4-88CA-AAB04ED58B2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42900" y="557084"/>
            <a:ext cx="7429500" cy="66833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Facebook Ads – The Basic Way</a:t>
            </a:r>
            <a:endParaRPr lang="en-GB" sz="20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500FD84-771F-38ED-8864-A8C10986441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887" r="86667" b="32222"/>
          <a:stretch/>
        </p:blipFill>
        <p:spPr>
          <a:xfrm>
            <a:off x="228600" y="1346507"/>
            <a:ext cx="1676400" cy="416498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2120A0E-2F47-86D7-80E9-2FE0FC7FBC45}"/>
              </a:ext>
            </a:extLst>
          </p:cNvPr>
          <p:cNvSpPr/>
          <p:nvPr/>
        </p:nvSpPr>
        <p:spPr>
          <a:xfrm>
            <a:off x="342900" y="1924050"/>
            <a:ext cx="1409700" cy="2095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E51026-7A06-7048-274C-F853FFFC41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1353" y="1386858"/>
            <a:ext cx="3490295" cy="99633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5088500-B93B-6DB4-812B-2DB2A87FE092}"/>
              </a:ext>
            </a:extLst>
          </p:cNvPr>
          <p:cNvSpPr/>
          <p:nvPr/>
        </p:nvSpPr>
        <p:spPr>
          <a:xfrm>
            <a:off x="4646125" y="1854138"/>
            <a:ext cx="935523" cy="4095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CA1A7B-E300-B034-4519-AEF11AB985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1353" y="2493781"/>
            <a:ext cx="4876798" cy="301771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17F4E4E-D854-B85C-00D4-742506C51C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9927" y="3216014"/>
            <a:ext cx="3807939" cy="30177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72FE31B-E838-E3E0-68B5-87C90DCAF7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8001" y="1598213"/>
            <a:ext cx="2716123" cy="11350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88871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A5CECE6E-165D-4EF4-88CA-AAB04ED58B2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31596" y="748761"/>
            <a:ext cx="7429500" cy="66833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Advanced Targeting using Facebook Business Manager</a:t>
            </a:r>
            <a:endParaRPr lang="en-GB" sz="20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E80C40-280F-44C8-9BA3-82B6DECCE8EB}"/>
              </a:ext>
            </a:extLst>
          </p:cNvPr>
          <p:cNvSpPr/>
          <p:nvPr/>
        </p:nvSpPr>
        <p:spPr>
          <a:xfrm>
            <a:off x="7465465" y="3208181"/>
            <a:ext cx="190800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Create campaigns with purpos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2A342CD-079D-B0F6-2938-B83177B9E3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7565" y="1419196"/>
            <a:ext cx="5863733" cy="407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6948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D9CB4FD3-5AF7-1D73-D264-CED0E02CFB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470" y="1224304"/>
            <a:ext cx="4564190" cy="4409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317C124B-5189-62FD-09A0-1C92BA683EE3}"/>
              </a:ext>
            </a:extLst>
          </p:cNvPr>
          <p:cNvSpPr txBox="1">
            <a:spLocks/>
          </p:cNvSpPr>
          <p:nvPr/>
        </p:nvSpPr>
        <p:spPr>
          <a:xfrm>
            <a:off x="961534" y="3246864"/>
            <a:ext cx="2922309" cy="66833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Ad Campaign Structure</a:t>
            </a:r>
            <a:endParaRPr lang="en-GB" sz="20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540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/>
        <AccountId xsi:nil="true"/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6EE3DC9-E134-4360-950A-40FBBF589C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</TotalTime>
  <Words>110</Words>
  <Application>Microsoft Office PowerPoint</Application>
  <PresentationFormat>A4 Paper (210x297 mm)</PresentationFormat>
  <Paragraphs>29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Georgia</vt:lpstr>
      <vt:lpstr>Tema de Office</vt:lpstr>
      <vt:lpstr>Diapositiva d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acebook Ads – The Basic Way</vt:lpstr>
      <vt:lpstr>Advanced Targeting using Facebook Business Manager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Charlene Naidoo</cp:lastModifiedBy>
  <cp:revision>15</cp:revision>
  <dcterms:created xsi:type="dcterms:W3CDTF">2016-07-11T04:31:49Z</dcterms:created>
  <dcterms:modified xsi:type="dcterms:W3CDTF">2023-12-07T07:0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</Properties>
</file>